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4"/>
  </p:notesMasterIdLst>
  <p:handoutMasterIdLst>
    <p:handoutMasterId r:id="rId15"/>
  </p:handoutMasterIdLst>
  <p:sldIdLst>
    <p:sldId id="277" r:id="rId5"/>
    <p:sldId id="1482" r:id="rId6"/>
    <p:sldId id="1508" r:id="rId7"/>
    <p:sldId id="1536" r:id="rId8"/>
    <p:sldId id="1537" r:id="rId9"/>
    <p:sldId id="1512" r:id="rId10"/>
    <p:sldId id="1538" r:id="rId11"/>
    <p:sldId id="1518" r:id="rId12"/>
    <p:sldId id="1471" r:id="rId13"/>
  </p:sldIdLst>
  <p:sldSz cx="9144000" cy="6858000" type="screen4x3"/>
  <p:notesSz cx="6881813" cy="9296400"/>
  <p:custDataLst>
    <p:tags r:id="rId1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77"/>
            <p14:sldId id="1482"/>
            <p14:sldId id="1508"/>
            <p14:sldId id="1536"/>
            <p14:sldId id="1537"/>
            <p14:sldId id="1512"/>
            <p14:sldId id="1538"/>
            <p14:sldId id="1518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1655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4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  <p:cmAuthor id="3" name="Óscar Palomo Díaz" initials="ÓPD" lastIdx="14" clrIdx="2">
    <p:extLst>
      <p:ext uri="{19B8F6BF-5375-455C-9EA6-DF929625EA0E}">
        <p15:presenceInfo xmlns:p15="http://schemas.microsoft.com/office/powerpoint/2012/main" userId="S::oscar.palomo@mju.es::d3c55112-9a8d-4689-970a-c1931af4e0c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6061"/>
    <a:srgbClr val="99D5E2"/>
    <a:srgbClr val="0D3E4B"/>
    <a:srgbClr val="394451"/>
    <a:srgbClr val="465362"/>
    <a:srgbClr val="0B5395"/>
    <a:srgbClr val="FAB41E"/>
    <a:srgbClr val="666666"/>
    <a:srgbClr val="043A6C"/>
    <a:srgbClr val="ECF4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4463" autoAdjust="0"/>
  </p:normalViewPr>
  <p:slideViewPr>
    <p:cSldViewPr snapToGrid="0">
      <p:cViewPr varScale="1">
        <p:scale>
          <a:sx n="67" d="100"/>
          <a:sy n="67" d="100"/>
        </p:scale>
        <p:origin x="1260" y="52"/>
      </p:cViewPr>
      <p:guideLst>
        <p:guide pos="204"/>
        <p:guide pos="1655"/>
        <p:guide pos="2154"/>
        <p:guide orient="horz" pos="2614"/>
        <p:guide orient="horz" pos="402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28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27/12/2023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12/27/2023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6013" y="696913"/>
            <a:ext cx="464978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036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5884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598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343B589F-9F2E-4779-BBDF-B5623EBF1C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6FD16DF-6861-4D4D-AE59-DBC98ECCE01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4D7494A5-159F-4825-A725-037F3947DC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168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B08E120-406B-434A-B324-A7056F63D7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69578" y="6432000"/>
            <a:ext cx="1780845" cy="32379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95" imgH="394" progId="TCLayout.ActiveDocument.1">
                  <p:embed/>
                </p:oleObj>
              </mc:Choice>
              <mc:Fallback>
                <p:oleObj name="Diapositiva de think-cell" r:id="rId8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16" r:id="rId4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1"/>
          </p:nvPr>
        </p:nvSpPr>
        <p:spPr>
          <a:xfrm>
            <a:off x="384458" y="4637495"/>
            <a:ext cx="5915734" cy="532347"/>
          </a:xfrm>
        </p:spPr>
        <p:txBody>
          <a:bodyPr>
            <a:normAutofit/>
          </a:bodyPr>
          <a:lstStyle/>
          <a:p>
            <a:r>
              <a:rPr lang="es-ES_tradnl" dirty="0"/>
              <a:t>Centro de Productos Procesales Servicio Fiscalías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s-ES" dirty="0"/>
              <a:t>18  de Febrero de 2022</a:t>
            </a:r>
            <a:endParaRPr lang="es-ES_tradnl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>
          <a:xfrm>
            <a:off x="384458" y="3449300"/>
            <a:ext cx="4519887" cy="1109673"/>
          </a:xfrm>
        </p:spPr>
        <p:txBody>
          <a:bodyPr>
            <a:noAutofit/>
          </a:bodyPr>
          <a:lstStyle/>
          <a:p>
            <a:r>
              <a:rPr lang="es-ES" sz="2862" dirty="0"/>
              <a:t>Víctimas Vulnerables del Ministerio Fiscal</a:t>
            </a:r>
            <a:endParaRPr lang="es-ES_tradnl" sz="2862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19 Conector recto"/>
          <p:cNvCxnSpPr/>
          <p:nvPr/>
        </p:nvCxnSpPr>
        <p:spPr>
          <a:xfrm flipH="1">
            <a:off x="5192193" y="2033441"/>
            <a:ext cx="0" cy="259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 Marcador de texto"/>
          <p:cNvSpPr txBox="1">
            <a:spLocks/>
          </p:cNvSpPr>
          <p:nvPr/>
        </p:nvSpPr>
        <p:spPr>
          <a:xfrm>
            <a:off x="5200962" y="2052316"/>
            <a:ext cx="3859910" cy="2351811"/>
          </a:xfrm>
          <a:prstGeom prst="rect">
            <a:avLst/>
          </a:prstGeom>
        </p:spPr>
        <p:txBody>
          <a:bodyPr vert="horz" lIns="84406" tIns="42203" rIns="84406" bIns="42203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troducción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Funcionalidades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antallas</a:t>
            </a:r>
          </a:p>
        </p:txBody>
      </p:sp>
      <p:sp>
        <p:nvSpPr>
          <p:cNvPr id="27" name="16 CuadroTexto"/>
          <p:cNvSpPr txBox="1"/>
          <p:nvPr/>
        </p:nvSpPr>
        <p:spPr>
          <a:xfrm>
            <a:off x="3726415" y="19980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cxnSp>
        <p:nvCxnSpPr>
          <p:cNvPr id="28" name="3 Conector recto"/>
          <p:cNvCxnSpPr/>
          <p:nvPr/>
        </p:nvCxnSpPr>
        <p:spPr>
          <a:xfrm>
            <a:off x="5110132" y="2179876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9 CuadroTexto"/>
          <p:cNvSpPr txBox="1"/>
          <p:nvPr/>
        </p:nvSpPr>
        <p:spPr>
          <a:xfrm>
            <a:off x="3726415" y="2436315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cxnSp>
        <p:nvCxnSpPr>
          <p:cNvPr id="30" name="10 Conector recto"/>
          <p:cNvCxnSpPr/>
          <p:nvPr/>
        </p:nvCxnSpPr>
        <p:spPr>
          <a:xfrm>
            <a:off x="5110132" y="2622038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17 CuadroTexto"/>
          <p:cNvSpPr txBox="1"/>
          <p:nvPr/>
        </p:nvSpPr>
        <p:spPr>
          <a:xfrm>
            <a:off x="3731396" y="2852933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43" name="20 Conector recto"/>
          <p:cNvCxnSpPr/>
          <p:nvPr/>
        </p:nvCxnSpPr>
        <p:spPr>
          <a:xfrm>
            <a:off x="5115113" y="3033438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396155CC-034A-4733-A356-E62C9CD1152A}"/>
              </a:ext>
            </a:extLst>
          </p:cNvPr>
          <p:cNvSpPr txBox="1"/>
          <p:nvPr/>
        </p:nvSpPr>
        <p:spPr>
          <a:xfrm>
            <a:off x="63988" y="116632"/>
            <a:ext cx="45800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104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C6F543-B371-4209-BA6B-B74A0E190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1. </a:t>
            </a: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roducción</a:t>
            </a:r>
            <a:endParaRPr lang="en-GB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2800" b="1">
                <a:solidFill>
                  <a:srgbClr val="0D3E4B"/>
                </a:solidFill>
              </a:defRPr>
            </a:lvl1pPr>
          </a:lstStyle>
          <a:p>
            <a:r>
              <a:rPr lang="es-ES" dirty="0"/>
              <a:t>Víctimas Vulnerables del Ministerio Fiscal</a:t>
            </a:r>
            <a:endParaRPr lang="en-GB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8D6EBDE-0920-4679-8566-0DF68AA35E41}"/>
              </a:ext>
            </a:extLst>
          </p:cNvPr>
          <p:cNvSpPr txBox="1"/>
          <p:nvPr/>
        </p:nvSpPr>
        <p:spPr>
          <a:xfrm>
            <a:off x="167840" y="1688385"/>
            <a:ext cx="875691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>
                <a:solidFill>
                  <a:srgbClr val="0D3E4B"/>
                </a:solidFill>
              </a:rPr>
              <a:t>Aplicación para el registro de víctimas vulnerables </a:t>
            </a:r>
            <a:r>
              <a:rPr lang="es-ES" sz="1600" dirty="0">
                <a:solidFill>
                  <a:srgbClr val="0D3E4B"/>
                </a:solidFill>
              </a:rPr>
              <a:t>inmersas en procedimientos judiciales que proporcione al Ministerio Fiscal la posibilidad de conocer en tiempo real la situación de éstas, a efectos de poder promover la adopción de medidas para su protección y la explotación de los datos a través  de estadísticas.</a:t>
            </a:r>
          </a:p>
          <a:p>
            <a:endParaRPr lang="es-ES" sz="1600" dirty="0">
              <a:solidFill>
                <a:srgbClr val="0D3E4B"/>
              </a:solidFill>
            </a:endParaRPr>
          </a:p>
          <a:p>
            <a:r>
              <a:rPr lang="es-ES_tradnl" sz="1600" b="1" dirty="0"/>
              <a:t>Beneficios</a:t>
            </a:r>
          </a:p>
          <a:p>
            <a:endParaRPr lang="es-ES_tradnl" sz="1600" b="1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s-ES" sz="1600" b="1" dirty="0"/>
              <a:t>Punto único de consulta </a:t>
            </a:r>
            <a:r>
              <a:rPr lang="es-ES" sz="1600" dirty="0"/>
              <a:t>para las fiscalías dependiendo de la jerarquizació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600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s-ES" sz="1600" b="1" dirty="0"/>
              <a:t>Homogeneización de los datos </a:t>
            </a:r>
            <a:r>
              <a:rPr lang="es-ES" sz="1600" dirty="0"/>
              <a:t>en todo el territo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600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s-ES" sz="1600" b="1" dirty="0"/>
              <a:t>Obtener el número de victimas </a:t>
            </a:r>
            <a:r>
              <a:rPr lang="es-ES" sz="1600" dirty="0"/>
              <a:t>del territorio simplemente con un bot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/>
          </a:p>
          <a:p>
            <a:endParaRPr lang="es-ES" sz="1600" dirty="0">
              <a:solidFill>
                <a:srgbClr val="0D3E4B"/>
              </a:solidFill>
            </a:endParaRPr>
          </a:p>
          <a:p>
            <a:endParaRPr lang="es-ES" sz="1600" dirty="0">
              <a:solidFill>
                <a:srgbClr val="0D3E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157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C6F543-B371-4209-BA6B-B74A0E190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1. </a:t>
            </a:r>
            <a:r>
              <a:rPr lang="es-ES" dirty="0"/>
              <a:t>Introducción</a:t>
            </a:r>
            <a:endParaRPr lang="en-GB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2800" b="1">
                <a:solidFill>
                  <a:srgbClr val="0D3E4B"/>
                </a:solidFill>
              </a:defRPr>
            </a:lvl1pPr>
          </a:lstStyle>
          <a:p>
            <a:r>
              <a:rPr lang="es-ES" dirty="0"/>
              <a:t>Información víctimas</a:t>
            </a:r>
            <a:endParaRPr lang="en-GB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08D6EBDE-0920-4679-8566-0DF68AA35E41}"/>
              </a:ext>
            </a:extLst>
          </p:cNvPr>
          <p:cNvSpPr txBox="1"/>
          <p:nvPr/>
        </p:nvSpPr>
        <p:spPr>
          <a:xfrm>
            <a:off x="235693" y="1475184"/>
            <a:ext cx="875691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0D3E4B"/>
                </a:solidFill>
              </a:rPr>
              <a:t>Para cada una de las victimas se registra en el sistema la siguiente información:</a:t>
            </a:r>
          </a:p>
          <a:p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Datos del procedimiento -&gt; Asunto, el órgano judicial, el número del procedimiento.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Circunstancias personales -&gt; minoría/mayoría de edad, si tiene alguna discapacidad y en el caso de no ser testigo protegido su filiación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Tipos de delitos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Las medidas cautelares (civiles y penales) y de protección adoptadas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Asistencia que ha recibido la victima (médica, asistencia jurídica gratuita, etc.)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Notificación de las resoluciones dictadas en el procedimiento , y por lo tanto si se ha respetado su derecho a ser informada.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s-ES" sz="1600" dirty="0">
              <a:solidFill>
                <a:srgbClr val="0D3E4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s-ES" sz="1600" dirty="0">
                <a:solidFill>
                  <a:srgbClr val="0D3E4B"/>
                </a:solidFill>
              </a:rPr>
              <a:t>Si ha sido indemnizada y el estado de dicha indemniza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D3E4B"/>
              </a:solidFill>
            </a:endParaRPr>
          </a:p>
          <a:p>
            <a:endParaRPr lang="es-ES" sz="1600" dirty="0">
              <a:solidFill>
                <a:srgbClr val="0D3E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628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19 Conector recto"/>
          <p:cNvCxnSpPr/>
          <p:nvPr/>
        </p:nvCxnSpPr>
        <p:spPr>
          <a:xfrm flipH="1">
            <a:off x="5192193" y="2033441"/>
            <a:ext cx="0" cy="259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 Marcador de texto"/>
          <p:cNvSpPr txBox="1">
            <a:spLocks/>
          </p:cNvSpPr>
          <p:nvPr/>
        </p:nvSpPr>
        <p:spPr>
          <a:xfrm>
            <a:off x="5200962" y="2052316"/>
            <a:ext cx="3859910" cy="2351811"/>
          </a:xfrm>
          <a:prstGeom prst="rect">
            <a:avLst/>
          </a:prstGeom>
        </p:spPr>
        <p:txBody>
          <a:bodyPr vert="horz" lIns="84406" tIns="42203" rIns="84406" bIns="42203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troducción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uncionalidades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antallas</a:t>
            </a:r>
          </a:p>
        </p:txBody>
      </p:sp>
      <p:sp>
        <p:nvSpPr>
          <p:cNvPr id="27" name="16 CuadroTexto"/>
          <p:cNvSpPr txBox="1"/>
          <p:nvPr/>
        </p:nvSpPr>
        <p:spPr>
          <a:xfrm>
            <a:off x="3726415" y="19980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cxnSp>
        <p:nvCxnSpPr>
          <p:cNvPr id="28" name="3 Conector recto"/>
          <p:cNvCxnSpPr/>
          <p:nvPr/>
        </p:nvCxnSpPr>
        <p:spPr>
          <a:xfrm>
            <a:off x="5110132" y="2179876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9 CuadroTexto"/>
          <p:cNvSpPr txBox="1"/>
          <p:nvPr/>
        </p:nvSpPr>
        <p:spPr>
          <a:xfrm>
            <a:off x="3726415" y="2436315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cxnSp>
        <p:nvCxnSpPr>
          <p:cNvPr id="30" name="10 Conector recto"/>
          <p:cNvCxnSpPr/>
          <p:nvPr/>
        </p:nvCxnSpPr>
        <p:spPr>
          <a:xfrm>
            <a:off x="5110132" y="2622038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17 CuadroTexto"/>
          <p:cNvSpPr txBox="1"/>
          <p:nvPr/>
        </p:nvSpPr>
        <p:spPr>
          <a:xfrm>
            <a:off x="3731396" y="2852933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43" name="20 Conector recto"/>
          <p:cNvCxnSpPr/>
          <p:nvPr/>
        </p:nvCxnSpPr>
        <p:spPr>
          <a:xfrm>
            <a:off x="5115113" y="3033438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396155CC-034A-4733-A356-E62C9CD1152A}"/>
              </a:ext>
            </a:extLst>
          </p:cNvPr>
          <p:cNvSpPr txBox="1"/>
          <p:nvPr/>
        </p:nvSpPr>
        <p:spPr>
          <a:xfrm>
            <a:off x="63988" y="116632"/>
            <a:ext cx="45800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4315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adroTexto 12">
            <a:extLst>
              <a:ext uri="{FF2B5EF4-FFF2-40B4-BE49-F238E27FC236}">
                <a16:creationId xmlns:a16="http://schemas.microsoft.com/office/drawing/2014/main" id="{08D6EBDE-0920-4679-8566-0DF68AA35E41}"/>
              </a:ext>
            </a:extLst>
          </p:cNvPr>
          <p:cNvSpPr txBox="1"/>
          <p:nvPr/>
        </p:nvSpPr>
        <p:spPr>
          <a:xfrm>
            <a:off x="406400" y="1367140"/>
            <a:ext cx="765617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sz="1600" dirty="0">
              <a:solidFill>
                <a:srgbClr val="0D3E4B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D3E4B"/>
                </a:solidFill>
              </a:rPr>
              <a:t>Contiene funcionalidad de registro, buscador, estadísticas y auditoría de da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D3E4B"/>
                </a:solidFill>
              </a:rPr>
              <a:t>Aplicación accesible para todas las fiscalías en todo el territor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D3E4B"/>
                </a:solidFill>
              </a:rPr>
              <a:t>Uso de tablas normalizadas bajo la norma técnica del  CTEAJE a través de la integración con ECD para la obtención dicha informació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D3E4B"/>
                </a:solidFill>
              </a:rPr>
              <a:t>Acceso desde el escritorio integrado proporcionando SSO con el resto de aplicacion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D3E4B"/>
              </a:solidFill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Funcionalidades de la aplicación</a:t>
            </a:r>
          </a:p>
        </p:txBody>
      </p:sp>
      <p:sp>
        <p:nvSpPr>
          <p:cNvPr id="26" name="Rectángulo redondeado 25"/>
          <p:cNvSpPr/>
          <p:nvPr/>
        </p:nvSpPr>
        <p:spPr>
          <a:xfrm>
            <a:off x="287274" y="4665014"/>
            <a:ext cx="8705335" cy="142251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35" name="Grupo 34"/>
          <p:cNvGrpSpPr/>
          <p:nvPr/>
        </p:nvGrpSpPr>
        <p:grpSpPr>
          <a:xfrm>
            <a:off x="2405019" y="4832182"/>
            <a:ext cx="418523" cy="417201"/>
            <a:chOff x="841387" y="2663374"/>
            <a:chExt cx="480182" cy="480181"/>
          </a:xfrm>
        </p:grpSpPr>
        <p:pic>
          <p:nvPicPr>
            <p:cNvPr id="36" name="Imagen 3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387" y="2663374"/>
              <a:ext cx="480182" cy="480181"/>
            </a:xfrm>
            <a:prstGeom prst="rect">
              <a:avLst/>
            </a:prstGeom>
          </p:spPr>
        </p:pic>
        <p:grpSp>
          <p:nvGrpSpPr>
            <p:cNvPr id="37" name="Grupo 36"/>
            <p:cNvGrpSpPr/>
            <p:nvPr/>
          </p:nvGrpSpPr>
          <p:grpSpPr>
            <a:xfrm>
              <a:off x="879239" y="2743552"/>
              <a:ext cx="404480" cy="240520"/>
              <a:chOff x="1585412" y="2683361"/>
              <a:chExt cx="404480" cy="240520"/>
            </a:xfrm>
          </p:grpSpPr>
          <p:sp>
            <p:nvSpPr>
              <p:cNvPr id="38" name="Rectángulo 37"/>
              <p:cNvSpPr/>
              <p:nvPr/>
            </p:nvSpPr>
            <p:spPr>
              <a:xfrm>
                <a:off x="1585412" y="2683361"/>
                <a:ext cx="404480" cy="2405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ES" sz="1350"/>
              </a:p>
            </p:txBody>
          </p:sp>
          <p:pic>
            <p:nvPicPr>
              <p:cNvPr id="39" name="Imagen 3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85413" y="2720340"/>
                <a:ext cx="404478" cy="115780"/>
              </a:xfrm>
              <a:prstGeom prst="rect">
                <a:avLst/>
              </a:prstGeom>
            </p:spPr>
          </p:pic>
        </p:grpSp>
      </p:grpSp>
      <p:pic>
        <p:nvPicPr>
          <p:cNvPr id="40" name="Imagen 3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236" y="4872235"/>
            <a:ext cx="303868" cy="359680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205950" y="3523291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rgbClr val="0D3E4B"/>
                </a:solidFill>
              </a:rPr>
              <a:t>Actualmente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2710767" y="3507855"/>
            <a:ext cx="2221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REGISTRO VÍCTIMA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2244821" y="3816460"/>
            <a:ext cx="218514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Registro datos procedimiento e información asociada a una víctima</a:t>
            </a: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-162977" y="5109509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rgbClr val="0D3E4B"/>
                </a:solidFill>
              </a:rPr>
              <a:t>En el futro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5576104" y="3476689"/>
            <a:ext cx="21896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ESTADÍSTICAS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5622748" y="4889303"/>
            <a:ext cx="21896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CUADRO DE MANDO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5075765" y="3733812"/>
            <a:ext cx="23134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xplotación de los datos registrados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5199519" y="5226377"/>
            <a:ext cx="231344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nvío de los datos de la aplicación al cuadro de mando para su posterior análisis</a:t>
            </a:r>
          </a:p>
        </p:txBody>
      </p:sp>
      <p:sp>
        <p:nvSpPr>
          <p:cNvPr id="64" name="Rectángulo redondeado 63"/>
          <p:cNvSpPr/>
          <p:nvPr/>
        </p:nvSpPr>
        <p:spPr>
          <a:xfrm>
            <a:off x="287274" y="3194247"/>
            <a:ext cx="8705335" cy="127173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870" y="3414163"/>
            <a:ext cx="355178" cy="355178"/>
          </a:xfrm>
          <a:prstGeom prst="rect">
            <a:avLst/>
          </a:prstGeom>
        </p:spPr>
      </p:pic>
      <p:sp>
        <p:nvSpPr>
          <p:cNvPr id="67" name="CuadroTexto 66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2244821" y="5249383"/>
            <a:ext cx="231344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Integración con otras aplicación procesales para completar los datos de luna víctima y procedimientos asociados</a:t>
            </a:r>
          </a:p>
        </p:txBody>
      </p:sp>
      <p:sp>
        <p:nvSpPr>
          <p:cNvPr id="68" name="Rectángulo 67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2790552" y="4772644"/>
            <a:ext cx="21896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APLICACIONES PROCESALES</a:t>
            </a:r>
          </a:p>
          <a:p>
            <a:endParaRPr lang="es-ES" sz="1400" b="1" dirty="0">
              <a:solidFill>
                <a:schemeClr val="tx2"/>
              </a:solidFill>
            </a:endParaRPr>
          </a:p>
        </p:txBody>
      </p:sp>
      <p:sp>
        <p:nvSpPr>
          <p:cNvPr id="70" name="Título 1">
            <a:extLst>
              <a:ext uri="{FF2B5EF4-FFF2-40B4-BE49-F238E27FC236}">
                <a16:creationId xmlns:a16="http://schemas.microsoft.com/office/drawing/2014/main" id="{9EC6F543-B371-4209-BA6B-B74A0E190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/>
          <a:lstStyle/>
          <a:p>
            <a:r>
              <a:rPr lang="es-E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2. </a:t>
            </a: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ionalidades</a:t>
            </a:r>
            <a:endParaRPr lang="en-GB" dirty="0"/>
          </a:p>
        </p:txBody>
      </p:sp>
      <p:pic>
        <p:nvPicPr>
          <p:cNvPr id="71" name="Picture 10" descr="Logo documento vector, gráfico vectorial, imágenes de Logo documento  vectoriales de stock | Depositphotos®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331" y="3414163"/>
            <a:ext cx="474926" cy="46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85858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19 Conector recto"/>
          <p:cNvCxnSpPr/>
          <p:nvPr/>
        </p:nvCxnSpPr>
        <p:spPr>
          <a:xfrm flipH="1">
            <a:off x="5192193" y="2033441"/>
            <a:ext cx="0" cy="259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 Marcador de texto"/>
          <p:cNvSpPr txBox="1">
            <a:spLocks/>
          </p:cNvSpPr>
          <p:nvPr/>
        </p:nvSpPr>
        <p:spPr>
          <a:xfrm>
            <a:off x="5200962" y="2052316"/>
            <a:ext cx="3859910" cy="2351811"/>
          </a:xfrm>
          <a:prstGeom prst="rect">
            <a:avLst/>
          </a:prstGeom>
        </p:spPr>
        <p:txBody>
          <a:bodyPr vert="horz" lIns="84406" tIns="42203" rIns="84406" bIns="42203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troducción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Funcionalidades</a:t>
            </a:r>
          </a:p>
          <a:p>
            <a:pPr lvl="1">
              <a:spcBef>
                <a:spcPts val="1385"/>
              </a:spcBef>
              <a:buClr>
                <a:schemeClr val="accent3"/>
              </a:buClr>
              <a:buSzPct val="150000"/>
            </a:pPr>
            <a:r>
              <a:rPr lang="es-ES" sz="1477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antallas</a:t>
            </a:r>
          </a:p>
        </p:txBody>
      </p:sp>
      <p:sp>
        <p:nvSpPr>
          <p:cNvPr id="27" name="16 CuadroTexto"/>
          <p:cNvSpPr txBox="1"/>
          <p:nvPr/>
        </p:nvSpPr>
        <p:spPr>
          <a:xfrm>
            <a:off x="3726415" y="1998086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cxnSp>
        <p:nvCxnSpPr>
          <p:cNvPr id="28" name="3 Conector recto"/>
          <p:cNvCxnSpPr/>
          <p:nvPr/>
        </p:nvCxnSpPr>
        <p:spPr>
          <a:xfrm>
            <a:off x="5110132" y="2179876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9 CuadroTexto"/>
          <p:cNvSpPr txBox="1"/>
          <p:nvPr/>
        </p:nvSpPr>
        <p:spPr>
          <a:xfrm>
            <a:off x="3726415" y="2436315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cxnSp>
        <p:nvCxnSpPr>
          <p:cNvPr id="30" name="10 Conector recto"/>
          <p:cNvCxnSpPr/>
          <p:nvPr/>
        </p:nvCxnSpPr>
        <p:spPr>
          <a:xfrm>
            <a:off x="5110132" y="2622038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17 CuadroTexto"/>
          <p:cNvSpPr txBox="1"/>
          <p:nvPr/>
        </p:nvSpPr>
        <p:spPr>
          <a:xfrm>
            <a:off x="3731396" y="2852933"/>
            <a:ext cx="1341985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846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43" name="20 Conector recto"/>
          <p:cNvCxnSpPr/>
          <p:nvPr/>
        </p:nvCxnSpPr>
        <p:spPr>
          <a:xfrm>
            <a:off x="5115113" y="3033438"/>
            <a:ext cx="16846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396155CC-034A-4733-A356-E62C9CD1152A}"/>
              </a:ext>
            </a:extLst>
          </p:cNvPr>
          <p:cNvSpPr txBox="1"/>
          <p:nvPr/>
        </p:nvSpPr>
        <p:spPr>
          <a:xfrm>
            <a:off x="63988" y="116632"/>
            <a:ext cx="45800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333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775" y="1913674"/>
            <a:ext cx="4146450" cy="2146136"/>
          </a:xfrm>
          <a:prstGeom prst="rect">
            <a:avLst/>
          </a:prstGeom>
        </p:spPr>
      </p:pic>
      <p:pic>
        <p:nvPicPr>
          <p:cNvPr id="6" name="Marcador de contenido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899746" y="2058088"/>
            <a:ext cx="3787053" cy="1857308"/>
          </a:xfrm>
          <a:prstGeom prst="rect">
            <a:avLst/>
          </a:prstGeom>
        </p:spPr>
      </p:pic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3. Pantallas</a:t>
            </a:r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8</a:t>
            </a:fld>
            <a:endParaRPr lang="es-ES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9457" y="4413802"/>
            <a:ext cx="3757613" cy="163474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562862" y="1558184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istro</a:t>
            </a:r>
            <a:endParaRPr lang="en-GB" sz="2800" b="1" dirty="0">
              <a:solidFill>
                <a:srgbClr val="0D3E4B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5211226" y="1665068"/>
            <a:ext cx="20461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rgbClr val="0D3E4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s-ES" dirty="0"/>
              <a:t>Búsqueda</a:t>
            </a:r>
            <a:endParaRPr lang="en-GB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7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Pantallas de la aplicación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2454208" y="5336223"/>
            <a:ext cx="1475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rgbClr val="0D3E4B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tadísticas</a:t>
            </a:r>
            <a:endParaRPr lang="en-GB" sz="1400" b="1" dirty="0">
              <a:solidFill>
                <a:srgbClr val="0D3E4B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349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D77EB1B5-E57D-4AED-829B-7FD7BAC2C7B0}"/>
              </a:ext>
            </a:extLst>
          </p:cNvPr>
          <p:cNvSpPr txBox="1">
            <a:spLocks/>
          </p:cNvSpPr>
          <p:nvPr/>
        </p:nvSpPr>
        <p:spPr>
          <a:xfrm>
            <a:off x="1187624" y="1196752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2291F10DA7BFA43804A3F10779231E3" ma:contentTypeVersion="10" ma:contentTypeDescription="Crear nuevo documento." ma:contentTypeScope="" ma:versionID="d6766a6ef9733ef091d9b8a7302f7063">
  <xsd:schema xmlns:xsd="http://www.w3.org/2001/XMLSchema" xmlns:xs="http://www.w3.org/2001/XMLSchema" xmlns:p="http://schemas.microsoft.com/office/2006/metadata/properties" xmlns:ns2="fcfaaa7b-664e-46b3-93ca-b1ef05990a14" xmlns:ns3="0c0b5c83-5b86-46c3-b34c-e524f81e498a" targetNamespace="http://schemas.microsoft.com/office/2006/metadata/properties" ma:root="true" ma:fieldsID="97660807df30d09c12642f13822c7d32" ns2:_="" ns3:_="">
    <xsd:import namespace="fcfaaa7b-664e-46b3-93ca-b1ef05990a14"/>
    <xsd:import namespace="0c0b5c83-5b86-46c3-b34c-e524f81e49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aaa7b-664e-46b3-93ca-b1ef05990a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0b5c83-5b86-46c3-b34c-e524f81e498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4BDE75-8990-445E-A5CF-3A4967CD8EEE}">
  <ds:schemaRefs>
    <ds:schemaRef ds:uri="http://schemas.microsoft.com/office/2006/documentManagement/types"/>
    <ds:schemaRef ds:uri="fcfaaa7b-664e-46b3-93ca-b1ef05990a14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0c0b5c83-5b86-46c3-b34c-e524f81e498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3036A1-3E4F-4B70-928A-4BC81FB1872C}">
  <ds:schemaRefs>
    <ds:schemaRef ds:uri="0c0b5c83-5b86-46c3-b34c-e524f81e498a"/>
    <ds:schemaRef ds:uri="fcfaaa7b-664e-46b3-93ca-b1ef05990a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8</TotalTime>
  <Words>388</Words>
  <Application>Microsoft Office PowerPoint</Application>
  <PresentationFormat>Presentación en pantalla (4:3)</PresentationFormat>
  <Paragraphs>80</Paragraphs>
  <Slides>9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Tema de Office</vt:lpstr>
      <vt:lpstr>Diapositiva de think-cell</vt:lpstr>
      <vt:lpstr>Presentación de PowerPoint</vt:lpstr>
      <vt:lpstr>Presentación de PowerPoint</vt:lpstr>
      <vt:lpstr>01. Introducción</vt:lpstr>
      <vt:lpstr>01. Introducción</vt:lpstr>
      <vt:lpstr>Presentación de PowerPoint</vt:lpstr>
      <vt:lpstr>02. Funcionalidades</vt:lpstr>
      <vt:lpstr>Presentación de PowerPoint</vt:lpstr>
      <vt:lpstr>03. Pantalla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Lucía Morales Sánchez</cp:lastModifiedBy>
  <cp:revision>160</cp:revision>
  <cp:lastPrinted>2016-06-29T10:24:36Z</cp:lastPrinted>
  <dcterms:created xsi:type="dcterms:W3CDTF">2012-05-17T08:07:55Z</dcterms:created>
  <dcterms:modified xsi:type="dcterms:W3CDTF">2023-12-27T12:5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291F10DA7BFA43804A3F10779231E3</vt:lpwstr>
  </property>
</Properties>
</file>